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embeddings/oleObject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41" r:id="rId2"/>
  </p:sldIdLst>
  <p:sldSz cx="9144000" cy="6858000" type="screen4x3"/>
  <p:notesSz cx="9601200" cy="73152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Niehaus" initials="P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12" autoAdjust="0"/>
    <p:restoredTop sz="83421" autoAdjust="0"/>
  </p:normalViewPr>
  <p:slideViewPr>
    <p:cSldViewPr>
      <p:cViewPr varScale="1">
        <p:scale>
          <a:sx n="87" d="100"/>
          <a:sy n="87" d="100"/>
        </p:scale>
        <p:origin x="-1152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806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handoutMaster" Target="handoutMasters/handoutMaster1.xml"/><Relationship Id="rId5" Type="http://schemas.openxmlformats.org/officeDocument/2006/relationships/printerSettings" Target="printerSettings/printerSettings1.bin"/><Relationship Id="rId6" Type="http://schemas.openxmlformats.org/officeDocument/2006/relationships/tags" Target="tags/tag1.xml"/><Relationship Id="rId7" Type="http://schemas.openxmlformats.org/officeDocument/2006/relationships/commentAuthors" Target="commentAuthors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438459" y="0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/>
          <a:lstStyle>
            <a:lvl1pPr algn="r">
              <a:defRPr sz="1200"/>
            </a:lvl1pPr>
          </a:lstStyle>
          <a:p>
            <a:fld id="{C17C574A-E395-4410-B86C-7E1365FE5755}" type="datetimeFigureOut">
              <a:rPr lang="en-US" smtClean="0"/>
              <a:t>8/30/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948171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438459" y="6948171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 anchor="b"/>
          <a:lstStyle>
            <a:lvl1pPr algn="r">
              <a:defRPr sz="1200"/>
            </a:lvl1pPr>
          </a:lstStyle>
          <a:p>
            <a:fld id="{1E259CC4-FCF1-44F3-8839-74BCA47A6E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5000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9" y="0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/>
          <a:lstStyle>
            <a:lvl1pPr algn="r">
              <a:defRPr sz="1200"/>
            </a:lvl1pPr>
          </a:lstStyle>
          <a:p>
            <a:fld id="{A5ADCBB1-175F-4A96-8A37-349622C465FC}" type="datetimeFigureOut">
              <a:rPr lang="en-US" smtClean="0"/>
              <a:t>8/30/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71800" y="549275"/>
            <a:ext cx="3657600" cy="2743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8" tIns="48329" rIns="96658" bIns="4832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474720"/>
            <a:ext cx="7680960" cy="3291840"/>
          </a:xfrm>
          <a:prstGeom prst="rect">
            <a:avLst/>
          </a:prstGeom>
        </p:spPr>
        <p:txBody>
          <a:bodyPr vert="horz" lIns="96658" tIns="48329" rIns="96658" bIns="4832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948171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9" y="6948171"/>
            <a:ext cx="4160520" cy="365760"/>
          </a:xfrm>
          <a:prstGeom prst="rect">
            <a:avLst/>
          </a:prstGeom>
        </p:spPr>
        <p:txBody>
          <a:bodyPr vert="horz" lIns="96658" tIns="48329" rIns="96658" bIns="48329" rtlCol="0" anchor="b"/>
          <a:lstStyle>
            <a:lvl1pPr algn="r">
              <a:defRPr sz="1200"/>
            </a:lvl1pPr>
          </a:lstStyle>
          <a:p>
            <a:fld id="{2716C691-E66D-4805-8AC4-A8CE3CA4F8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393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DF44D0D-5870-4C45-93DB-DC5726C34575}" type="datetime1">
              <a:rPr lang="en-US" smtClean="0"/>
              <a:t>8/30/1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280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F47901A-A41E-4677-ABD4-CC0E1BC8765D}" type="datetime1">
              <a:rPr lang="en-US" smtClean="0"/>
              <a:t>8/30/1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9427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76C9107-4812-4EB1-8405-4DA8E65130B4}" type="datetime1">
              <a:rPr lang="en-US" smtClean="0"/>
              <a:t>8/30/1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1261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802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97F7559-5792-49A3-BD46-AE2FEB8EB2FC}" type="datetime1">
              <a:rPr lang="en-US" smtClean="0"/>
              <a:t>8/30/1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F85C7AE-E9AE-46C5-9DB2-2DFE86BB89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719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7AA6714-9A26-45E7-B9C8-78D7B48580E2}" type="datetime1">
              <a:rPr lang="en-US" smtClean="0"/>
              <a:t>8/30/1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6159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8E5E47E-CA2A-4D25-9DFB-0878B401A696}" type="datetime1">
              <a:rPr lang="en-US" smtClean="0"/>
              <a:t>8/30/13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685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DB40FF3-4266-4CC7-B5EF-E41A4836A65A}" type="datetime1">
              <a:rPr lang="en-US" smtClean="0"/>
              <a:t>8/30/1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0829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D11E096-A199-4494-9077-9644B7C55DCF}" type="datetime1">
              <a:rPr lang="en-US" smtClean="0"/>
              <a:t>8/30/13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5221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813D7D1-BD6B-48CB-A600-3ADB4A9A54E7}" type="datetime1">
              <a:rPr lang="en-US" smtClean="0"/>
              <a:t>8/30/1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771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290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DA1D32D-D05E-49DD-8B56-2CD512B7CD66}" type="datetime1">
              <a:rPr lang="en-US" smtClean="0"/>
              <a:t>8/30/1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015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gi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76200"/>
            <a:ext cx="8839200" cy="4572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6800"/>
            <a:ext cx="8229600" cy="5059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91400" y="6400800"/>
            <a:ext cx="1295400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85C7AE-E9AE-46C5-9DB2-2DFE86BB893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25" y="6400800"/>
            <a:ext cx="1476375" cy="304800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0" y="6248400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0574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" Type="http://schemas.openxmlformats.org/officeDocument/2006/relationships/tags" Target="../tags/tag11.xml"/><Relationship Id="rId12" Type="http://schemas.openxmlformats.org/officeDocument/2006/relationships/slideLayout" Target="../slideLayouts/slideLayout6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10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9162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rgbClr val="FFFF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prstShdw prst="shdw17" dist="17961" dir="2700000">
                    <a:srgbClr val="6A8669">
                      <a:alpha val="74997"/>
                    </a:srgbClr>
                  </a:prst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latin typeface="Calibri"/>
              <a:sym typeface="Calibri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 bwMode="auto">
          <a:xfrm>
            <a:off x="304801" y="1077776"/>
            <a:ext cx="3657600" cy="4942024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1440" bIns="91440" rtlCol="0" anchor="ctr"/>
          <a:lstStyle/>
          <a:p>
            <a:pPr algn="ctr"/>
            <a:endParaRPr lang="en-US" sz="1400" dirty="0" smtClean="0"/>
          </a:p>
        </p:txBody>
      </p:sp>
      <p:sp>
        <p:nvSpPr>
          <p:cNvPr id="11" name="Rectangle 10"/>
          <p:cNvSpPr/>
          <p:nvPr>
            <p:custDataLst>
              <p:tags r:id="rId5"/>
            </p:custDataLst>
          </p:nvPr>
        </p:nvSpPr>
        <p:spPr bwMode="auto">
          <a:xfrm>
            <a:off x="304801" y="1077776"/>
            <a:ext cx="3657600" cy="336703"/>
          </a:xfrm>
          <a:prstGeom prst="rect">
            <a:avLst/>
          </a:prstGeom>
          <a:solidFill>
            <a:schemeClr val="accent4"/>
          </a:solidFill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1440" bIns="91440" rtlCol="0" anchor="ctr"/>
          <a:lstStyle/>
          <a:p>
            <a:r>
              <a:rPr lang="en-US" sz="1400" b="1" dirty="0" smtClean="0"/>
              <a:t>Randomized / experimental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e have made several </a:t>
            </a:r>
            <a:r>
              <a:rPr lang="en-US" dirty="0" smtClean="0"/>
              <a:t>changes to </a:t>
            </a:r>
            <a:r>
              <a:rPr lang="en-US" dirty="0" smtClean="0"/>
              <a:t>our </a:t>
            </a:r>
            <a:r>
              <a:rPr lang="en-US" dirty="0" smtClean="0"/>
              <a:t>field process under </a:t>
            </a:r>
            <a:r>
              <a:rPr lang="en-US" dirty="0" smtClean="0"/>
              <a:t>current $2M </a:t>
            </a:r>
            <a:r>
              <a:rPr lang="en-US" dirty="0" smtClean="0"/>
              <a:t>campaign in Keny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BF85C7AE-E9AE-46C5-9DB2-2DFE86BB8930}" type="slidenum">
              <a:rPr lang="en-US" smtClean="0"/>
              <a:t>1</a:t>
            </a:fld>
            <a:endParaRPr lang="en-US"/>
          </a:p>
        </p:txBody>
      </p:sp>
      <p:sp>
        <p:nvSpPr>
          <p:cNvPr id="7" name="TextBox 6"/>
          <p:cNvSpPr txBox="1"/>
          <p:nvPr>
            <p:custDataLst>
              <p:tags r:id="rId8"/>
            </p:custDataLst>
          </p:nvPr>
        </p:nvSpPr>
        <p:spPr>
          <a:xfrm>
            <a:off x="381000" y="1473986"/>
            <a:ext cx="3511296" cy="4401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Village saturation</a:t>
            </a:r>
            <a:r>
              <a:rPr lang="en-US" sz="1400" dirty="0" smtClean="0"/>
              <a:t>: Randomized selection of </a:t>
            </a:r>
            <a:r>
              <a:rPr lang="en-US" sz="1400" dirty="0" smtClean="0"/>
              <a:t>18 </a:t>
            </a:r>
            <a:r>
              <a:rPr lang="en-US" sz="1400" dirty="0" smtClean="0"/>
              <a:t>villages to apply saturation approach (with </a:t>
            </a:r>
            <a:r>
              <a:rPr lang="en-US" sz="1400" dirty="0" smtClean="0"/>
              <a:t>same size group for thatch and control) 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Staff incentives</a:t>
            </a:r>
            <a:r>
              <a:rPr lang="en-US" sz="1400" dirty="0" smtClean="0"/>
              <a:t>: </a:t>
            </a:r>
            <a:r>
              <a:rPr lang="en-US" sz="1400" dirty="0" smtClean="0"/>
              <a:t>Randomly select </a:t>
            </a:r>
            <a:r>
              <a:rPr lang="en-US" sz="1400" dirty="0" smtClean="0"/>
              <a:t>50% of field staff to participate in scheme that provides 10% bonus on total pay for the period based on following performance metrics: </a:t>
            </a:r>
          </a:p>
          <a:p>
            <a:pPr marL="742950" lvl="1" indent="-285750">
              <a:buFont typeface="Calibri" pitchFamily="34" charset="0"/>
              <a:buChar char="—"/>
            </a:pPr>
            <a:r>
              <a:rPr lang="en-US" sz="1400" b="1" dirty="0" smtClean="0"/>
              <a:t>Census</a:t>
            </a:r>
            <a:r>
              <a:rPr lang="en-US" sz="1400" dirty="0" smtClean="0"/>
              <a:t>: Percent of households in village </a:t>
            </a:r>
            <a:r>
              <a:rPr lang="en-US" sz="1400" dirty="0" smtClean="0"/>
              <a:t>missed in census (</a:t>
            </a:r>
            <a:r>
              <a:rPr lang="en-US" sz="1400" dirty="0" smtClean="0"/>
              <a:t>&lt;5%)</a:t>
            </a:r>
          </a:p>
          <a:p>
            <a:pPr marL="742950" lvl="1" indent="-285750">
              <a:buFont typeface="Calibri" pitchFamily="34" charset="0"/>
              <a:buChar char="—"/>
            </a:pPr>
            <a:r>
              <a:rPr lang="en-US" sz="1400" b="1" dirty="0" smtClean="0"/>
              <a:t>Enrollment</a:t>
            </a:r>
            <a:r>
              <a:rPr lang="en-US" sz="1400" dirty="0" smtClean="0"/>
              <a:t>: Recipient scores on blind comprehension audit (&gt;90%) and on-time registration rate (#1 and #2 highest rates are rewarded)</a:t>
            </a:r>
          </a:p>
          <a:p>
            <a:pPr marL="742950" lvl="1" indent="-285750">
              <a:buFont typeface="Calibri" pitchFamily="34" charset="0"/>
              <a:buChar char="—"/>
            </a:pPr>
            <a:r>
              <a:rPr lang="en-US" sz="1400" b="1" dirty="0" smtClean="0"/>
              <a:t>Back check</a:t>
            </a:r>
            <a:r>
              <a:rPr lang="en-US" sz="1400" dirty="0" smtClean="0"/>
              <a:t>: Scores on blind comprehension audit among recipients who </a:t>
            </a:r>
            <a:r>
              <a:rPr lang="en-US" sz="1400" dirty="0" smtClean="0"/>
              <a:t>still have </a:t>
            </a:r>
            <a:r>
              <a:rPr lang="en-US" sz="1400" dirty="0" smtClean="0"/>
              <a:t>not </a:t>
            </a:r>
            <a:r>
              <a:rPr lang="en-US" sz="1400" dirty="0" smtClean="0"/>
              <a:t>registered</a:t>
            </a:r>
            <a:endParaRPr lang="en-US" sz="1400" dirty="0" smtClean="0"/>
          </a:p>
        </p:txBody>
      </p:sp>
      <p:sp>
        <p:nvSpPr>
          <p:cNvPr id="12" name="Rectangle 11"/>
          <p:cNvSpPr/>
          <p:nvPr>
            <p:custDataLst>
              <p:tags r:id="rId9"/>
            </p:custDataLst>
          </p:nvPr>
        </p:nvSpPr>
        <p:spPr bwMode="auto">
          <a:xfrm>
            <a:off x="4114800" y="1077776"/>
            <a:ext cx="4724400" cy="4942024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1440" bIns="91440" rtlCol="0" anchor="ctr"/>
          <a:lstStyle/>
          <a:p>
            <a:pPr algn="ctr"/>
            <a:endParaRPr lang="en-US" sz="1400" dirty="0" smtClean="0"/>
          </a:p>
        </p:txBody>
      </p:sp>
      <p:sp>
        <p:nvSpPr>
          <p:cNvPr id="13" name="Rectangle 12"/>
          <p:cNvSpPr/>
          <p:nvPr>
            <p:custDataLst>
              <p:tags r:id="rId10"/>
            </p:custDataLst>
          </p:nvPr>
        </p:nvSpPr>
        <p:spPr bwMode="auto">
          <a:xfrm>
            <a:off x="4114800" y="1077776"/>
            <a:ext cx="4724400" cy="336703"/>
          </a:xfrm>
          <a:prstGeom prst="rect">
            <a:avLst/>
          </a:prstGeom>
          <a:solidFill>
            <a:schemeClr val="accent4"/>
          </a:solidFill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tIns="91440" bIns="91440" rtlCol="0" anchor="ctr"/>
          <a:lstStyle/>
          <a:p>
            <a:r>
              <a:rPr lang="en-US" sz="1400" b="1" dirty="0" smtClean="0"/>
              <a:t>Other process improvements </a:t>
            </a:r>
          </a:p>
        </p:txBody>
      </p:sp>
      <p:sp>
        <p:nvSpPr>
          <p:cNvPr id="14" name="TextBox 13"/>
          <p:cNvSpPr txBox="1"/>
          <p:nvPr>
            <p:custDataLst>
              <p:tags r:id="rId11"/>
            </p:custDataLst>
          </p:nvPr>
        </p:nvSpPr>
        <p:spPr>
          <a:xfrm>
            <a:off x="4209288" y="1473986"/>
            <a:ext cx="4629912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Org structure: </a:t>
            </a:r>
            <a:r>
              <a:rPr lang="en-US" sz="1400" dirty="0"/>
              <a:t>F</a:t>
            </a:r>
            <a:r>
              <a:rPr lang="en-US" sz="1400" dirty="0" smtClean="0"/>
              <a:t>ormalized Senior Field Officer layer of management to strengthen quality control functions </a:t>
            </a:r>
            <a:endParaRPr lang="en-US" sz="1400" b="1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400" b="1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Village targeting</a:t>
            </a:r>
            <a:r>
              <a:rPr lang="en-US" sz="1400" b="1" dirty="0" smtClean="0"/>
              <a:t>: </a:t>
            </a:r>
            <a:r>
              <a:rPr lang="en-US" sz="1400" dirty="0" smtClean="0"/>
              <a:t>Used remote sensing via Google Earth to generate village-level data on which to base selection (vs. old method dependent on data from village elders)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 err="1" smtClean="0"/>
              <a:t>Govn’t</a:t>
            </a:r>
            <a:r>
              <a:rPr lang="en-US" sz="1400" b="1" dirty="0" smtClean="0"/>
              <a:t> relations</a:t>
            </a:r>
            <a:r>
              <a:rPr lang="en-US" sz="1400" dirty="0" smtClean="0"/>
              <a:t>: Signed MOUs with local officials </a:t>
            </a:r>
            <a:r>
              <a:rPr lang="en-US" sz="1400" dirty="0" smtClean="0"/>
              <a:t>to </a:t>
            </a:r>
            <a:r>
              <a:rPr lang="en-US" sz="1400" dirty="0" smtClean="0"/>
              <a:t>maximize buy-in and formalize relationship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Enrollment</a:t>
            </a:r>
            <a:r>
              <a:rPr lang="en-US" sz="1400" dirty="0" smtClean="0"/>
              <a:t>: Created formal mechanism to capture complaints from community (e.g., households potentially skipped or </a:t>
            </a:r>
            <a:r>
              <a:rPr lang="en-US" sz="1400" dirty="0" err="1" smtClean="0"/>
              <a:t>miscategorized</a:t>
            </a:r>
            <a:r>
              <a:rPr lang="en-US" sz="1400" dirty="0" smtClean="0"/>
              <a:t>)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b="1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Mechanical Turk: </a:t>
            </a:r>
            <a:r>
              <a:rPr lang="en-US" sz="1400" dirty="0" smtClean="0"/>
              <a:t>Leveraged crowd labor to </a:t>
            </a:r>
            <a:r>
              <a:rPr lang="en-US" sz="1400" dirty="0" smtClean="0"/>
              <a:t>conduct photo and satellite image check with less time and </a:t>
            </a:r>
            <a:r>
              <a:rPr lang="en-US" sz="1400" dirty="0" smtClean="0"/>
              <a:t>cost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/>
              <a:t>Time cards: </a:t>
            </a:r>
            <a:r>
              <a:rPr lang="en-US" sz="1400" dirty="0"/>
              <a:t>Automated staff timecards and outsourced processing of </a:t>
            </a:r>
            <a:r>
              <a:rPr lang="en-US" sz="1400" dirty="0" smtClean="0"/>
              <a:t>payroll deductions </a:t>
            </a:r>
            <a:r>
              <a:rPr lang="en-US" sz="1400" dirty="0"/>
              <a:t>to third-party </a:t>
            </a:r>
          </a:p>
        </p:txBody>
      </p:sp>
    </p:spTree>
    <p:extLst>
      <p:ext uri="{BB962C8B-B14F-4D97-AF65-F5344CB8AC3E}">
        <p14:creationId xmlns:p14="http://schemas.microsoft.com/office/powerpoint/2010/main" val="475664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3&quot;/&gt;&lt;/elem&gt;&lt;key val=&quot;2&quot;/&gt;&lt;elem&gt;&lt;m_nPartnerID val=&quot;530&quot;/&gt;&lt;m_nIndex val=&quot;3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4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kdxvRh10Cek0YTv7G8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GqrfsmHE6FPGD20WWI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2ntbQKnUGrrHTiUja6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uIFgmlzU2usZiXpRpe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kdxvRh10Cek0YTv7G8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l92ypyCUW_7uIEDVAB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usp4s7Vk.uOM4yQzMF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GqrfsmHE6FPGD20WWI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uIFgmlzU2usZiXpRpeGw"/>
</p:tagLst>
</file>

<file path=ppt/theme/theme1.xml><?xml version="1.0" encoding="utf-8"?>
<a:theme xmlns:a="http://schemas.openxmlformats.org/drawingml/2006/main" name="20120912 GiveDirectly template">
  <a:themeElements>
    <a:clrScheme name="GD Colorscheme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325929"/>
      </a:accent1>
      <a:accent2>
        <a:srgbClr val="5CA34B"/>
      </a:accent2>
      <a:accent3>
        <a:srgbClr val="93C787"/>
      </a:accent3>
      <a:accent4>
        <a:srgbClr val="C4E1BD"/>
      </a:accent4>
      <a:accent5>
        <a:srgbClr val="325929"/>
      </a:accent5>
      <a:accent6>
        <a:srgbClr val="5CA34B"/>
      </a:accent6>
      <a:hlink>
        <a:srgbClr val="93C787"/>
      </a:hlink>
      <a:folHlink>
        <a:srgbClr val="C4E1B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rgbClr val="FFFF00"/>
          </a:solidFill>
          <a:miter lim="800000"/>
          <a:headEnd/>
          <a:tailEnd/>
        </a:ln>
        <a:effectLst>
          <a:prstShdw prst="shdw17" dist="17961" dir="2700000">
            <a:srgbClr val="6A8669">
              <a:alpha val="74997"/>
            </a:srgbClr>
          </a:prstShdw>
        </a:effectLst>
        <a:extLst/>
      </a:spPr>
      <a:bodyPr tIns="91440" bIns="91440" rtlCol="0" anchor="ctr"/>
      <a:lstStyle>
        <a:defPPr algn="ctr">
          <a:defRPr sz="2000" dirty="0" smtClean="0"/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0912 GiveDirectly template</Template>
  <TotalTime>6063</TotalTime>
  <Words>253</Words>
  <Application>Microsoft Macintosh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20120912 GiveDirectly template</vt:lpstr>
      <vt:lpstr>think-cell Slide</vt:lpstr>
      <vt:lpstr>We have made several changes to our field process under current $2M campaign in Kenya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 Niehaus</dc:creator>
  <cp:lastModifiedBy>Joy Sun</cp:lastModifiedBy>
  <cp:revision>937</cp:revision>
  <cp:lastPrinted>2012-10-01T14:04:10Z</cp:lastPrinted>
  <dcterms:created xsi:type="dcterms:W3CDTF">2012-09-12T13:41:46Z</dcterms:created>
  <dcterms:modified xsi:type="dcterms:W3CDTF">2013-08-30T18:27:15Z</dcterms:modified>
</cp:coreProperties>
</file>